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slides/slide232.xml" ContentType="application/vnd.openxmlformats-officedocument.presentationml.slide+xml"/>
  <Override PartName="/ppt/tags/tag2042.xml" ContentType="application/vnd.openxmlformats-officedocument.presentationml.tags+xml"/>
  <Override PartName="/ppt/notesSlides/notesSlide232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7" r:id="rId23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slide" Target="/ppt/slides/slide232.xml" Id="rId235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2.xml.rels>&#65279;<?xml version="1.0" encoding="utf-8"?><Relationships xmlns="http://schemas.openxmlformats.org/package/2006/relationships"><Relationship Type="http://schemas.openxmlformats.org/officeDocument/2006/relationships/slide" Target="/ppt/slides/slide232.xml" Id="rId2" /><Relationship Type="http://schemas.openxmlformats.org/officeDocument/2006/relationships/notesMaster" Target="/ppt/notesMasters/notesMaster1.xml" Id="rId1" /></Relationships>
</file>

<file path=ppt/notesSlides/notesSlide2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4670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2.xml.rels>&#65279;<?xml version="1.0" encoding="utf-8"?><Relationships xmlns="http://schemas.openxmlformats.org/package/2006/relationships"><Relationship Type="http://schemas.openxmlformats.org/officeDocument/2006/relationships/image" Target="/ppt/media/image223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22.png" Id="rId7" /><Relationship Type="http://schemas.openxmlformats.org/officeDocument/2006/relationships/image" Target="/ppt/media/image225.svg" Id="rId12" /><Relationship Type="http://schemas.openxmlformats.org/officeDocument/2006/relationships/tags" Target="/ppt/tags/tag2042.xml" Id="rId2" /><Relationship Type="http://schemas.openxmlformats.org/officeDocument/2006/relationships/vmlDrawing" Target="/ppt/drawings/vmlDrawing236.vml" Id="rId1" /><Relationship Type="http://schemas.openxmlformats.org/officeDocument/2006/relationships/image" Target="/ppt/media/image4.emf" Id="rId6" /><Relationship Type="http://schemas.openxmlformats.org/officeDocument/2006/relationships/image" Target="/ppt/media/image224.png" Id="rId11" /><Relationship Type="http://schemas.openxmlformats.org/officeDocument/2006/relationships/oleObject" Target="/ppt/embeddings/oleObject236.bin" Id="rId5" /><Relationship Type="http://schemas.openxmlformats.org/officeDocument/2006/relationships/image" Target="/ppt/media/image210.svg" Id="rId10" /><Relationship Type="http://schemas.openxmlformats.org/officeDocument/2006/relationships/notesSlide" Target="/ppt/notesSlides/notesSlide232.xml" Id="rId4" /><Relationship Type="http://schemas.openxmlformats.org/officeDocument/2006/relationships/image" Target="/ppt/media/image209.png" Id="rId9" /></Relationships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0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 with slide transitions II</a:t>
            </a:r>
          </a:p>
        </p:txBody>
      </p:sp>
      <p:cxnSp>
        <p:nvCxnSpPr>
          <p:cNvPr id="2" name="Gerader Verbinder 39">
            <a:extLst>
              <a:ext uri="{FF2B5EF4-FFF2-40B4-BE49-F238E27FC236}">
                <a16:creationId xmlns:a16="http://schemas.microsoft.com/office/drawing/2014/main" id="{958FD359-D3DC-520A-8BC7-CAF8CBE368D2}"/>
              </a:ext>
            </a:extLst>
          </p:cNvPr>
          <p:cNvCxnSpPr>
            <a:cxnSpLocks/>
          </p:cNvCxnSpPr>
          <p:nvPr/>
        </p:nvCxnSpPr>
        <p:spPr bwMode="gray">
          <a:xfrm>
            <a:off x="6095999" y="4959"/>
            <a:ext cx="0" cy="6522047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id="{F4EEDD89-D9D4-C1AA-55E4-6F8B3D9C91E7}"/>
              </a:ext>
            </a:extLst>
          </p:cNvPr>
          <p:cNvSpPr>
            <a:spLocks/>
          </p:cNvSpPr>
          <p:nvPr/>
        </p:nvSpPr>
        <p:spPr bwMode="gray">
          <a:xfrm>
            <a:off x="3289150" y="534677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 algn="r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r"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786747F0-AF3B-8136-DF40-3066ADF28BE9}"/>
              </a:ext>
            </a:extLst>
          </p:cNvPr>
          <p:cNvSpPr>
            <a:spLocks/>
          </p:cNvSpPr>
          <p:nvPr/>
        </p:nvSpPr>
        <p:spPr bwMode="gray">
          <a:xfrm>
            <a:off x="3289150" y="5048197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r">
              <a:defRPr/>
            </a:pPr>
            <a:r>
              <a:rPr lang="en-US" sz="1400" b="1">
                <a:solidFill>
                  <a:schemeClr val="accent1"/>
                </a:solidFill>
              </a:rPr>
              <a:t>2011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BEAD647C-31FA-D58C-120D-2647EC2B269A}"/>
              </a:ext>
            </a:extLst>
          </p:cNvPr>
          <p:cNvSpPr>
            <a:spLocks/>
          </p:cNvSpPr>
          <p:nvPr/>
        </p:nvSpPr>
        <p:spPr bwMode="gray">
          <a:xfrm>
            <a:off x="3289150" y="1807821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 algn="r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r"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8BB400C8-2618-726D-2FF8-7930473D5205}"/>
              </a:ext>
            </a:extLst>
          </p:cNvPr>
          <p:cNvSpPr>
            <a:spLocks/>
          </p:cNvSpPr>
          <p:nvPr/>
        </p:nvSpPr>
        <p:spPr bwMode="gray">
          <a:xfrm>
            <a:off x="3289150" y="1509246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r">
              <a:defRPr/>
            </a:pPr>
            <a:r>
              <a:rPr lang="en-US" sz="1400" b="1">
                <a:solidFill>
                  <a:schemeClr val="accent1"/>
                </a:solidFill>
              </a:rPr>
              <a:t>1995</a:t>
            </a:r>
          </a:p>
        </p:txBody>
      </p:sp>
      <p:grpSp>
        <p:nvGrpSpPr>
          <p:cNvPr id="22" name="Gruppieren 44">
            <a:extLst>
              <a:ext uri="{FF2B5EF4-FFF2-40B4-BE49-F238E27FC236}">
                <a16:creationId xmlns:a16="http://schemas.microsoft.com/office/drawing/2014/main" id="{018EC5C1-600B-CFEF-672E-0846804394F2}"/>
              </a:ext>
            </a:extLst>
          </p:cNvPr>
          <p:cNvGrpSpPr>
            <a:grpSpLocks/>
          </p:cNvGrpSpPr>
          <p:nvPr/>
        </p:nvGrpSpPr>
        <p:grpSpPr bwMode="gray">
          <a:xfrm>
            <a:off x="6885562" y="3325811"/>
            <a:ext cx="2017287" cy="1037236"/>
            <a:chOff x="6916169" y="3380093"/>
            <a:chExt cx="2018338" cy="1037776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EE30D784-473C-43F6-CBB3-BCF32EB6F951}"/>
                </a:ext>
              </a:extLst>
            </p:cNvPr>
            <p:cNvSpPr>
              <a:spLocks/>
            </p:cNvSpPr>
            <p:nvPr/>
          </p:nvSpPr>
          <p:spPr bwMode="gray">
            <a:xfrm flipH="1">
              <a:off x="6916169" y="3678820"/>
              <a:ext cx="2018338" cy="7390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indent="0">
                <a:spcBef>
                  <a:spcPts val="0"/>
                </a:spcBef>
                <a:buClr>
                  <a:srgbClr val="000000"/>
                </a:buClr>
                <a:buFontTx/>
                <a:buNone/>
                <a:defRPr/>
              </a:pPr>
              <a:r>
                <a:rPr lang="en-US" sz="2000">
                  <a:solidFill>
                    <a:schemeClr val="tx2"/>
                  </a:solidFill>
                </a:rPr>
                <a:t>Sample text</a:t>
              </a:r>
            </a:p>
            <a:p>
              <a:pPr>
                <a:defRPr/>
              </a:pPr>
              <a:r>
                <a:rPr lang="en-US" sz="1400">
                  <a:solidFill>
                    <a:prstClr val="black"/>
                  </a:solidFill>
                </a:rPr>
                <a:t>Lorem ipsum dolor sit </a:t>
              </a:r>
              <a:br>
                <a:rPr lang="en-US" sz="1400">
                  <a:solidFill>
                    <a:prstClr val="black"/>
                  </a:solidFill>
                </a:rPr>
              </a:br>
              <a:r>
                <a:rPr lang="en-US" sz="1400" err="1">
                  <a:solidFill>
                    <a:prstClr val="black"/>
                  </a:solidFill>
                </a:rPr>
                <a:t>sadipscing</a:t>
              </a:r>
              <a:r>
                <a:rPr lang="en-US" sz="1400">
                  <a:solidFill>
                    <a:prstClr val="black"/>
                  </a:solidFill>
                </a:rPr>
                <a:t> </a:t>
              </a:r>
              <a:r>
                <a:rPr lang="en-US" sz="1400" err="1">
                  <a:solidFill>
                    <a:prstClr val="black"/>
                  </a:solidFill>
                </a:rPr>
                <a:t>elitr</a:t>
              </a:r>
              <a:r>
                <a:rPr lang="en-US" sz="1400">
                  <a:solidFill>
                    <a:prstClr val="black"/>
                  </a:solidFill>
                </a:rPr>
                <a:t> sed</a:t>
              </a:r>
            </a:p>
          </p:txBody>
        </p:sp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FFBC7343-AA80-6862-3CCB-5359B153322B}"/>
                </a:ext>
              </a:extLst>
            </p:cNvPr>
            <p:cNvSpPr>
              <a:spLocks/>
            </p:cNvSpPr>
            <p:nvPr/>
          </p:nvSpPr>
          <p:spPr bwMode="gray">
            <a:xfrm flipH="1">
              <a:off x="6916169" y="3380093"/>
              <a:ext cx="2018338" cy="21555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>
                <a:defRPr/>
              </a:pPr>
              <a:r>
                <a:rPr lang="en-US" sz="1400" b="1">
                  <a:solidFill>
                    <a:schemeClr val="accent1"/>
                  </a:solidFill>
                </a:rPr>
                <a:t>2002</a:t>
              </a:r>
            </a:p>
          </p:txBody>
        </p:sp>
      </p:grpSp>
      <p:sp>
        <p:nvSpPr>
          <p:cNvPr id="25" name="Ellipse 48">
            <a:extLst>
              <a:ext uri="{FF2B5EF4-FFF2-40B4-BE49-F238E27FC236}">
                <a16:creationId xmlns:a16="http://schemas.microsoft.com/office/drawing/2014/main" id="{B7D8E74F-135C-B2BB-BD5A-F30A15367494}"/>
              </a:ext>
            </a:extLst>
          </p:cNvPr>
          <p:cNvSpPr>
            <a:spLocks/>
          </p:cNvSpPr>
          <p:nvPr/>
        </p:nvSpPr>
        <p:spPr bwMode="gray">
          <a:xfrm>
            <a:off x="5736270" y="124184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6" name="Ellipse 51">
            <a:extLst>
              <a:ext uri="{FF2B5EF4-FFF2-40B4-BE49-F238E27FC236}">
                <a16:creationId xmlns:a16="http://schemas.microsoft.com/office/drawing/2014/main" id="{CD210998-BC1B-88E0-19AE-8C93BE3A3257}"/>
              </a:ext>
            </a:extLst>
          </p:cNvPr>
          <p:cNvSpPr>
            <a:spLocks/>
          </p:cNvSpPr>
          <p:nvPr/>
        </p:nvSpPr>
        <p:spPr bwMode="gray">
          <a:xfrm flipH="1">
            <a:off x="5736270" y="3011318"/>
            <a:ext cx="719457" cy="719377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7" name="Ellipse 54">
            <a:extLst>
              <a:ext uri="{FF2B5EF4-FFF2-40B4-BE49-F238E27FC236}">
                <a16:creationId xmlns:a16="http://schemas.microsoft.com/office/drawing/2014/main" id="{C0EB8F01-C0D0-32F6-EEE1-F6AE0EA4A289}"/>
              </a:ext>
            </a:extLst>
          </p:cNvPr>
          <p:cNvSpPr>
            <a:spLocks/>
          </p:cNvSpPr>
          <p:nvPr/>
        </p:nvSpPr>
        <p:spPr bwMode="gray">
          <a:xfrm>
            <a:off x="5736270" y="478079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29" name="Grafik 7">
            <a:extLst>
              <a:ext uri="{FF2B5EF4-FFF2-40B4-BE49-F238E27FC236}">
                <a16:creationId xmlns:a16="http://schemas.microsoft.com/office/drawing/2014/main" id="{75F3889D-1CE8-7582-C27C-02A1F22C4C1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80901" y="4925384"/>
            <a:ext cx="430196" cy="430196"/>
          </a:xfrm>
          <a:prstGeom prst="rect">
            <a:avLst/>
          </a:prstGeom>
        </p:spPr>
      </p:pic>
      <p:pic>
        <p:nvPicPr>
          <p:cNvPr id="30" name="Grafik 9">
            <a:extLst>
              <a:ext uri="{FF2B5EF4-FFF2-40B4-BE49-F238E27FC236}">
                <a16:creationId xmlns:a16="http://schemas.microsoft.com/office/drawing/2014/main" id="{F0DFE69E-9AD6-DBCF-9CD7-0E04AE2BDDB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0901" y="3155909"/>
            <a:ext cx="430196" cy="430196"/>
          </a:xfrm>
          <a:prstGeom prst="rect">
            <a:avLst/>
          </a:prstGeom>
        </p:spPr>
      </p:pic>
      <p:pic>
        <p:nvPicPr>
          <p:cNvPr id="31" name="Grafik 11">
            <a:extLst>
              <a:ext uri="{FF2B5EF4-FFF2-40B4-BE49-F238E27FC236}">
                <a16:creationId xmlns:a16="http://schemas.microsoft.com/office/drawing/2014/main" id="{6D94B500-A2FA-2DCE-AD3D-2048A8F5605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0901" y="1386434"/>
            <a:ext cx="430196" cy="430196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78EBF62-EACF-703B-E66F-9FDA38FB49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2408920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